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6" autoAdjust="0"/>
    <p:restoredTop sz="94660"/>
  </p:normalViewPr>
  <p:slideViewPr>
    <p:cSldViewPr snapToGrid="0">
      <p:cViewPr>
        <p:scale>
          <a:sx n="160" d="100"/>
          <a:sy n="160" d="100"/>
        </p:scale>
        <p:origin x="-148" y="-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E0FD5E0-6901-46A1-90FD-2071AB1FA8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2787D2B-6C36-4258-9D6A-AE79912153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4EAC280-B5AD-4A07-A5DE-656F0368CB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1AEDC-8194-4C63-BC71-A464DC51BEB5}" type="datetimeFigureOut">
              <a:rPr lang="en-US" smtClean="0"/>
              <a:t>8/20/2021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3D93656-A11B-423A-9EAD-820764C367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93083E8-BA9E-4D3B-B512-745699DBA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D22BF-25AE-4687-9879-17B86E0F42F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85796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92B952-2CDD-4285-AF2F-795C50CD0E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CE46A9C7-2738-453A-B320-BE8543646D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7D9DC5-91AB-4697-990B-F8867E8C39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1AEDC-8194-4C63-BC71-A464DC51BEB5}" type="datetimeFigureOut">
              <a:rPr lang="en-US" smtClean="0"/>
              <a:t>8/20/2021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E2B847D-94F9-4535-88BD-36E12B4A4F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B857B9C-934F-4D7C-9931-372C592239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D22BF-25AE-4687-9879-17B86E0F42F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46428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768E9412-EA9E-4DA3-8AFF-5AFAAC44A64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02CD3BBE-59FF-44D4-B637-9E2D18BB95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E437C38-4AA2-4D12-ABFA-F31448FBC3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1AEDC-8194-4C63-BC71-A464DC51BEB5}" type="datetimeFigureOut">
              <a:rPr lang="en-US" smtClean="0"/>
              <a:t>8/20/2021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397AAFE-393A-49CC-A0EC-965ACFC6C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8B8A629-DD61-428C-8528-B3A60BA3E1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D22BF-25AE-4687-9879-17B86E0F42F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5470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EDFA3F-E46F-4796-819C-88A2C5FE22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946BBE1-E697-4063-B68D-8E74CFE4E8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A377C4A-F49A-480E-ACF7-F798340D77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1AEDC-8194-4C63-BC71-A464DC51BEB5}" type="datetimeFigureOut">
              <a:rPr lang="en-US" smtClean="0"/>
              <a:t>8/20/2021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26DF368-8492-41DB-B8AF-9E32C2F648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9E3550-9732-4251-877C-565943D4D6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D22BF-25AE-4687-9879-17B86E0F42F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55249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9A89D3-7E94-47FF-AFD8-0157F11193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DC19BCB-35E5-4DCB-AECA-5A466E2B57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27698DF-6438-43C8-90AA-3D7D6D1202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1AEDC-8194-4C63-BC71-A464DC51BEB5}" type="datetimeFigureOut">
              <a:rPr lang="en-US" smtClean="0"/>
              <a:t>8/20/2021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6B8F19-EEDD-4814-AC5B-C0E15052F6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6E6DE4A-012D-4C8B-8349-42E396F3D2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D22BF-25AE-4687-9879-17B86E0F42F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5693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A58475-65CF-449D-851E-EADB79BEE7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F643F39-56E9-4BFA-8923-A14F025E962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658A556-DD48-4470-A57A-B9E2E592D6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21D702A-175B-460B-81E3-76EDF50A93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1AEDC-8194-4C63-BC71-A464DC51BEB5}" type="datetimeFigureOut">
              <a:rPr lang="en-US" smtClean="0"/>
              <a:t>8/20/2021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D4B1D25-4402-4BEC-A445-912F47FFFF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2865274-66EC-4268-8742-EF6E84D0D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D22BF-25AE-4687-9879-17B86E0F42F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00649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C05D05-48E2-4073-9874-251CF188E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F87B2F4-3167-41A2-B076-D652A30131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A4F4A0B-C3F5-4571-AE62-7CF7574037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AC28C18-8919-4F59-A9AC-55E00905974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5BEE951-F362-44F7-8533-9F69953F0F4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24241472-CC28-4FF6-9142-88B795C2E2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1AEDC-8194-4C63-BC71-A464DC51BEB5}" type="datetimeFigureOut">
              <a:rPr lang="en-US" smtClean="0"/>
              <a:t>8/20/2021</a:t>
            </a:fld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8D25E85A-AEEB-4055-874A-7D57C5CC79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49835B3-BEE2-4167-B3A2-61BF6DE7B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D22BF-25AE-4687-9879-17B86E0F42F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41915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5C89AE-BA77-43EF-B38D-67878179CB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D6BDF70-E832-4503-BF52-06F96E6103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1AEDC-8194-4C63-BC71-A464DC51BEB5}" type="datetimeFigureOut">
              <a:rPr lang="en-US" smtClean="0"/>
              <a:t>8/20/2021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9CC075B-C906-43FA-8FC9-31C11A10A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25143EA-069F-4A3E-9DEC-4E7D046EC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D22BF-25AE-4687-9879-17B86E0F42F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6717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1F260F3-1BC6-4680-B000-7D9A9A4E16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1AEDC-8194-4C63-BC71-A464DC51BEB5}" type="datetimeFigureOut">
              <a:rPr lang="en-US" smtClean="0"/>
              <a:t>8/20/2021</a:t>
            </a:fld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686E790-2F13-4EBD-A7DE-93FCE7D85C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ADF5D4E-6730-4759-B1E2-C2FAD582F1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D22BF-25AE-4687-9879-17B86E0F42F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22502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2FE085-C864-403A-BEA1-3EC71CF1C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82F81AA-3AE0-4733-8E31-F32421E62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4C05F4C-FC4E-4FC3-BD79-73F7100E89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C8CD797-B80C-4948-A5DD-4CA251170C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1AEDC-8194-4C63-BC71-A464DC51BEB5}" type="datetimeFigureOut">
              <a:rPr lang="en-US" smtClean="0"/>
              <a:t>8/20/2021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BD91666-0CC3-4309-B2CA-2EE6B6817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08ED7CF-DEC1-4A7B-8154-5037545E69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D22BF-25AE-4687-9879-17B86E0F42F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72880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B1CE9A-65A1-4E50-8E37-A6E3F2C3AB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D32D0D02-2FBC-4F29-97CA-D5E8DD6AA7D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2855BC5-ECDE-4B3F-9656-21B24A54110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CA8352B-5EFF-477F-A97D-6D5C265209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1AEDC-8194-4C63-BC71-A464DC51BEB5}" type="datetimeFigureOut">
              <a:rPr lang="en-US" smtClean="0"/>
              <a:t>8/20/2021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A835533-2519-4664-A64E-0EF4F56370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3B60382-281D-4360-97CD-A34F2C90CD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D22BF-25AE-4687-9879-17B86E0F42F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37685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FE1DFBA-4EEE-4796-8459-56985A9478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423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Folie" r:id="rId15" imgW="386" imgH="381" progId="TCLayout.ActiveDocument.1">
                  <p:embed/>
                </p:oleObj>
              </mc:Choice>
              <mc:Fallback>
                <p:oleObj name="think-cell Folie" r:id="rId15" imgW="386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655FF38-A27D-493A-BC78-335989B117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D5DEBF2-190E-4721-A2BB-6A29232493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9222896-060C-4C74-A0BD-F8F5E9E1D4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91AEDC-8194-4C63-BC71-A464DC51BEB5}" type="datetimeFigureOut">
              <a:rPr lang="en-US" smtClean="0"/>
              <a:t>8/20/2021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07140FC-C768-43C4-94B1-11760AB693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D969CE-1F55-4F16-B9FD-9DE581B2FB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8D22BF-25AE-4687-9879-17B86E0F42FC}" type="slidenum">
              <a:rPr lang="en-US" smtClean="0"/>
              <a:t>‹Nr.›</a:t>
            </a:fld>
            <a:endParaRPr lang="en-US"/>
          </a:p>
        </p:txBody>
      </p:sp>
      <p:sp>
        <p:nvSpPr>
          <p:cNvPr id="9" name="MSIPCMContentMarking" descr="{&quot;HashCode&quot;:1622173095,&quot;Placement&quot;:&quot;Footer&quot;,&quot;Top&quot;:522.862549,&quot;Left&quot;:0.0,&quot;SlideWidth&quot;:960,&quot;SlideHeight&quot;:540}">
            <a:extLst>
              <a:ext uri="{FF2B5EF4-FFF2-40B4-BE49-F238E27FC236}">
                <a16:creationId xmlns:a16="http://schemas.microsoft.com/office/drawing/2014/main" id="{13CCFCDB-9D4F-42A6-AC27-8120BB0C82C2}"/>
              </a:ext>
            </a:extLst>
          </p:cNvPr>
          <p:cNvSpPr txBox="1"/>
          <p:nvPr userDrawn="1"/>
        </p:nvSpPr>
        <p:spPr>
          <a:xfrm>
            <a:off x="0" y="6640354"/>
            <a:ext cx="744382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2709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6C6B2E5-4C7A-4A31-83E2-C9A26DF739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9527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Folie" r:id="rId4" imgW="386" imgH="381" progId="TCLayout.ActiveDocument.1">
                  <p:embed/>
                </p:oleObj>
              </mc:Choice>
              <mc:Fallback>
                <p:oleObj name="think-cell Folie" r:id="rId4" imgW="386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9E15D0A-7A91-4997-82A1-AD4E180F4766}"/>
              </a:ext>
            </a:extLst>
          </p:cNvPr>
          <p:cNvGrpSpPr/>
          <p:nvPr/>
        </p:nvGrpSpPr>
        <p:grpSpPr>
          <a:xfrm>
            <a:off x="1068149" y="1281239"/>
            <a:ext cx="7918970" cy="4569303"/>
            <a:chOff x="1068148" y="1281239"/>
            <a:chExt cx="9192553" cy="4569303"/>
          </a:xfrm>
          <a:scene3d>
            <a:camera prst="isometricOffAxis1Top"/>
            <a:lightRig rig="threePt" dir="t"/>
          </a:scene3d>
        </p:grpSpPr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A0EE0193-6762-4A2E-81AD-58A4614957DB}"/>
                </a:ext>
              </a:extLst>
            </p:cNvPr>
            <p:cNvSpPr/>
            <p:nvPr/>
          </p:nvSpPr>
          <p:spPr>
            <a:xfrm>
              <a:off x="1072195" y="1302818"/>
              <a:ext cx="9188506" cy="454772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7" name="Gerade Verbindung mit Pfeil 6">
              <a:extLst>
                <a:ext uri="{FF2B5EF4-FFF2-40B4-BE49-F238E27FC236}">
                  <a16:creationId xmlns:a16="http://schemas.microsoft.com/office/drawing/2014/main" id="{2E3F8931-3D90-4F9C-876D-D6195C988DC4}"/>
                </a:ext>
              </a:extLst>
            </p:cNvPr>
            <p:cNvCxnSpPr>
              <a:cxnSpLocks/>
            </p:cNvCxnSpPr>
            <p:nvPr/>
          </p:nvCxnSpPr>
          <p:spPr>
            <a:xfrm>
              <a:off x="1068148" y="1310910"/>
              <a:ext cx="1488935" cy="0"/>
            </a:xfrm>
            <a:prstGeom prst="straightConnector1">
              <a:avLst/>
            </a:prstGeom>
            <a:ln w="571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mit Pfeil 10">
              <a:extLst>
                <a:ext uri="{FF2B5EF4-FFF2-40B4-BE49-F238E27FC236}">
                  <a16:creationId xmlns:a16="http://schemas.microsoft.com/office/drawing/2014/main" id="{CC3331AA-B53A-43C1-9AC6-E5B9802B73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39865" y="2025707"/>
              <a:ext cx="1488935" cy="0"/>
            </a:xfrm>
            <a:prstGeom prst="straightConnector1">
              <a:avLst/>
            </a:prstGeom>
            <a:ln w="571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Ellipse 25">
            <a:extLst>
              <a:ext uri="{FF2B5EF4-FFF2-40B4-BE49-F238E27FC236}">
                <a16:creationId xmlns:a16="http://schemas.microsoft.com/office/drawing/2014/main" id="{A6880B97-C77A-47A1-9961-D2D5ECB3CCA0}"/>
              </a:ext>
            </a:extLst>
          </p:cNvPr>
          <p:cNvSpPr/>
          <p:nvPr/>
        </p:nvSpPr>
        <p:spPr>
          <a:xfrm>
            <a:off x="5335235" y="2955445"/>
            <a:ext cx="370147" cy="369333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</a:ln>
          <a:scene3d>
            <a:camera prst="isometricOffAxis1Right"/>
            <a:lightRig rig="threePt" dir="t"/>
          </a:scene3d>
          <a:sp3d extrusionH="139700">
            <a:bevelT w="0" h="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588F39D-50E1-4F0B-8F55-3EDD15AF1B22}"/>
              </a:ext>
            </a:extLst>
          </p:cNvPr>
          <p:cNvSpPr txBox="1"/>
          <p:nvPr/>
        </p:nvSpPr>
        <p:spPr>
          <a:xfrm>
            <a:off x="1583235" y="3176623"/>
            <a:ext cx="3048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X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E124C85E-254C-4F0B-AB8E-5B4FF69A4F92}"/>
              </a:ext>
            </a:extLst>
          </p:cNvPr>
          <p:cNvSpPr txBox="1"/>
          <p:nvPr/>
        </p:nvSpPr>
        <p:spPr>
          <a:xfrm>
            <a:off x="1175230" y="3605106"/>
            <a:ext cx="3048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80F6EED0-07A8-49B4-8B05-63B7B8EF21CF}"/>
              </a:ext>
            </a:extLst>
          </p:cNvPr>
          <p:cNvCxnSpPr/>
          <p:nvPr/>
        </p:nvCxnSpPr>
        <p:spPr>
          <a:xfrm>
            <a:off x="494734" y="3412198"/>
            <a:ext cx="0" cy="90630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981A190B-C39C-47E0-9883-1F21DEB55AAC}"/>
              </a:ext>
            </a:extLst>
          </p:cNvPr>
          <p:cNvSpPr txBox="1"/>
          <p:nvPr/>
        </p:nvSpPr>
        <p:spPr>
          <a:xfrm>
            <a:off x="602137" y="4028689"/>
            <a:ext cx="2920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Z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2E626484-50F8-4A37-920B-584C08C72D6E}"/>
              </a:ext>
            </a:extLst>
          </p:cNvPr>
          <p:cNvSpPr/>
          <p:nvPr/>
        </p:nvSpPr>
        <p:spPr>
          <a:xfrm>
            <a:off x="4405830" y="3220556"/>
            <a:ext cx="370147" cy="369333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</a:ln>
          <a:scene3d>
            <a:camera prst="isometricOffAxis1Right"/>
            <a:lightRig rig="threePt" dir="t"/>
          </a:scene3d>
          <a:sp3d extrusionH="139700">
            <a:bevelT w="0" h="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50432337-13DC-4616-87CE-ECED9499D98F}"/>
              </a:ext>
            </a:extLst>
          </p:cNvPr>
          <p:cNvSpPr/>
          <p:nvPr/>
        </p:nvSpPr>
        <p:spPr>
          <a:xfrm>
            <a:off x="4679898" y="2894926"/>
            <a:ext cx="1227843" cy="53407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  <a:scene3d>
            <a:camera prst="isometricOffAxis1Top"/>
            <a:lightRig rig="threePt" dir="t"/>
          </a:scene3d>
          <a:sp3d>
            <a:bevelT w="0" h="317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7C07A4CC-2952-4A0E-8813-3CA6370560F6}"/>
              </a:ext>
            </a:extLst>
          </p:cNvPr>
          <p:cNvSpPr/>
          <p:nvPr/>
        </p:nvSpPr>
        <p:spPr>
          <a:xfrm>
            <a:off x="4854387" y="3429000"/>
            <a:ext cx="370147" cy="369333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</a:ln>
          <a:scene3d>
            <a:camera prst="isometricOffAxis1Right"/>
            <a:lightRig rig="threePt" dir="t"/>
          </a:scene3d>
          <a:sp3d extrusionH="139700">
            <a:bevelT w="0" h="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A8568587-B5A0-4B7E-9758-FD2DE2C79681}"/>
              </a:ext>
            </a:extLst>
          </p:cNvPr>
          <p:cNvSpPr/>
          <p:nvPr/>
        </p:nvSpPr>
        <p:spPr>
          <a:xfrm>
            <a:off x="5794377" y="3307046"/>
            <a:ext cx="370147" cy="369333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</a:ln>
          <a:scene3d>
            <a:camera prst="isometricOffAxis1Right"/>
            <a:lightRig rig="threePt" dir="t"/>
          </a:scene3d>
          <a:sp3d extrusionH="139700">
            <a:bevelT w="0" h="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DB8A3BDD-EE92-4C52-B040-D9301D88C2C2}"/>
              </a:ext>
            </a:extLst>
          </p:cNvPr>
          <p:cNvGrpSpPr/>
          <p:nvPr/>
        </p:nvGrpSpPr>
        <p:grpSpPr>
          <a:xfrm>
            <a:off x="5188580" y="2705363"/>
            <a:ext cx="1192861" cy="1038477"/>
            <a:chOff x="4610002" y="2701317"/>
            <a:chExt cx="1192861" cy="1038477"/>
          </a:xfrm>
        </p:grpSpPr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85C308B3-4CD6-4049-BD60-0B3F4BBF2BA7}"/>
                </a:ext>
              </a:extLst>
            </p:cNvPr>
            <p:cNvGrpSpPr/>
            <p:nvPr/>
          </p:nvGrpSpPr>
          <p:grpSpPr>
            <a:xfrm>
              <a:off x="4779220" y="2701317"/>
              <a:ext cx="1023643" cy="1038477"/>
              <a:chOff x="3511943" y="1281239"/>
              <a:chExt cx="1023643" cy="1038477"/>
            </a:xfrm>
            <a:scene3d>
              <a:camera prst="isometricOffAxis1Top"/>
              <a:lightRig rig="threePt" dir="t"/>
            </a:scene3d>
          </p:grpSpPr>
          <p:cxnSp>
            <p:nvCxnSpPr>
              <p:cNvPr id="3" name="Gerade Verbindung mit Pfeil 2">
                <a:extLst>
                  <a:ext uri="{FF2B5EF4-FFF2-40B4-BE49-F238E27FC236}">
                    <a16:creationId xmlns:a16="http://schemas.microsoft.com/office/drawing/2014/main" id="{7DDAF45B-9092-482A-B820-E2A25F475A8F}"/>
                  </a:ext>
                </a:extLst>
              </p:cNvPr>
              <p:cNvCxnSpPr/>
              <p:nvPr/>
            </p:nvCxnSpPr>
            <p:spPr>
              <a:xfrm flipV="1">
                <a:off x="3511943" y="1281239"/>
                <a:ext cx="1023643" cy="0"/>
              </a:xfrm>
              <a:prstGeom prst="straightConnector1">
                <a:avLst/>
              </a:prstGeom>
              <a:ln w="38100">
                <a:solidFill>
                  <a:srgbClr val="F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mit Pfeil 27">
                <a:extLst>
                  <a:ext uri="{FF2B5EF4-FFF2-40B4-BE49-F238E27FC236}">
                    <a16:creationId xmlns:a16="http://schemas.microsoft.com/office/drawing/2014/main" id="{D46CEFF0-035D-4913-B77B-5A3C92C15407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V="1">
                <a:off x="3017654" y="1807895"/>
                <a:ext cx="1023643" cy="0"/>
              </a:xfrm>
              <a:prstGeom prst="straightConnector1">
                <a:avLst/>
              </a:prstGeom>
              <a:ln w="38100">
                <a:solidFill>
                  <a:srgbClr val="F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9" name="Gerade Verbindung mit Pfeil 8">
              <a:extLst>
                <a:ext uri="{FF2B5EF4-FFF2-40B4-BE49-F238E27FC236}">
                  <a16:creationId xmlns:a16="http://schemas.microsoft.com/office/drawing/2014/main" id="{ED8DA1A1-62B9-43F9-A513-9333039F7B5A}"/>
                </a:ext>
              </a:extLst>
            </p:cNvPr>
            <p:cNvCxnSpPr/>
            <p:nvPr/>
          </p:nvCxnSpPr>
          <p:spPr>
            <a:xfrm>
              <a:off x="4610002" y="3140629"/>
              <a:ext cx="0" cy="457200"/>
            </a:xfrm>
            <a:prstGeom prst="straightConnector1">
              <a:avLst/>
            </a:prstGeom>
            <a:ln w="190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hteck 13">
            <a:extLst>
              <a:ext uri="{FF2B5EF4-FFF2-40B4-BE49-F238E27FC236}">
                <a16:creationId xmlns:a16="http://schemas.microsoft.com/office/drawing/2014/main" id="{7258D14D-099D-481C-A799-22F6CB7EF0FD}"/>
              </a:ext>
            </a:extLst>
          </p:cNvPr>
          <p:cNvSpPr/>
          <p:nvPr/>
        </p:nvSpPr>
        <p:spPr>
          <a:xfrm>
            <a:off x="44662" y="1559969"/>
            <a:ext cx="7920000" cy="330818"/>
          </a:xfrm>
          <a:prstGeom prst="rect">
            <a:avLst/>
          </a:prstGeom>
          <a:solidFill>
            <a:schemeClr val="accent2"/>
          </a:solidFill>
          <a:ln>
            <a:solidFill>
              <a:schemeClr val="accent2">
                <a:lumMod val="60000"/>
                <a:lumOff val="40000"/>
              </a:schemeClr>
            </a:solidFill>
          </a:ln>
          <a:scene3d>
            <a:camera prst="isometricOffAxis1Top">
              <a:rot lat="18075715" lon="18392745" rev="3456000"/>
            </a:camera>
            <a:lightRig rig="threePt" dir="t"/>
          </a:scene3d>
          <a:sp3d extrusionH="11303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914B3BA-EC4D-4B3B-B774-0DB2BBAC3A99}"/>
              </a:ext>
            </a:extLst>
          </p:cNvPr>
          <p:cNvSpPr/>
          <p:nvPr/>
        </p:nvSpPr>
        <p:spPr>
          <a:xfrm>
            <a:off x="6356743" y="1890787"/>
            <a:ext cx="4638811" cy="109672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  <a:scene3d>
            <a:camera prst="isometricOffAxis1Left"/>
            <a:lightRig rig="threePt" dir="t"/>
          </a:scene3d>
          <a:sp3d extrusionH="4572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A895A1AA-D330-4447-AB6D-49B81ED0FE19}"/>
              </a:ext>
            </a:extLst>
          </p:cNvPr>
          <p:cNvSpPr/>
          <p:nvPr/>
        </p:nvSpPr>
        <p:spPr>
          <a:xfrm>
            <a:off x="5566308" y="1912366"/>
            <a:ext cx="4055165" cy="1490869"/>
          </a:xfrm>
          <a:custGeom>
            <a:avLst/>
            <a:gdLst>
              <a:gd name="connsiteX0" fmla="*/ 0 w 4055165"/>
              <a:gd name="connsiteY0" fmla="*/ 981986 h 1697603"/>
              <a:gd name="connsiteX1" fmla="*/ 55659 w 4055165"/>
              <a:gd name="connsiteY1" fmla="*/ 345882 h 1697603"/>
              <a:gd name="connsiteX2" fmla="*/ 2027583 w 4055165"/>
              <a:gd name="connsiteY2" fmla="*/ 0 h 1697603"/>
              <a:gd name="connsiteX3" fmla="*/ 4055165 w 4055165"/>
              <a:gd name="connsiteY3" fmla="*/ 1152939 h 1697603"/>
              <a:gd name="connsiteX4" fmla="*/ 572494 w 4055165"/>
              <a:gd name="connsiteY4" fmla="*/ 1697603 h 1697603"/>
              <a:gd name="connsiteX5" fmla="*/ 0 w 4055165"/>
              <a:gd name="connsiteY5" fmla="*/ 981986 h 1697603"/>
              <a:gd name="connsiteX0" fmla="*/ 433347 w 4488512"/>
              <a:gd name="connsiteY0" fmla="*/ 981986 h 1697603"/>
              <a:gd name="connsiteX1" fmla="*/ 0 w 4488512"/>
              <a:gd name="connsiteY1" fmla="*/ 421419 h 1697603"/>
              <a:gd name="connsiteX2" fmla="*/ 2460930 w 4488512"/>
              <a:gd name="connsiteY2" fmla="*/ 0 h 1697603"/>
              <a:gd name="connsiteX3" fmla="*/ 4488512 w 4488512"/>
              <a:gd name="connsiteY3" fmla="*/ 1152939 h 1697603"/>
              <a:gd name="connsiteX4" fmla="*/ 1005841 w 4488512"/>
              <a:gd name="connsiteY4" fmla="*/ 1697603 h 1697603"/>
              <a:gd name="connsiteX5" fmla="*/ 433347 w 4488512"/>
              <a:gd name="connsiteY5" fmla="*/ 981986 h 1697603"/>
              <a:gd name="connsiteX0" fmla="*/ 433347 w 4488512"/>
              <a:gd name="connsiteY0" fmla="*/ 981986 h 1490869"/>
              <a:gd name="connsiteX1" fmla="*/ 0 w 4488512"/>
              <a:gd name="connsiteY1" fmla="*/ 421419 h 1490869"/>
              <a:gd name="connsiteX2" fmla="*/ 2460930 w 4488512"/>
              <a:gd name="connsiteY2" fmla="*/ 0 h 1490869"/>
              <a:gd name="connsiteX3" fmla="*/ 4488512 w 4488512"/>
              <a:gd name="connsiteY3" fmla="*/ 1152939 h 1490869"/>
              <a:gd name="connsiteX4" fmla="*/ 2305880 w 4488512"/>
              <a:gd name="connsiteY4" fmla="*/ 1490869 h 1490869"/>
              <a:gd name="connsiteX5" fmla="*/ 433347 w 4488512"/>
              <a:gd name="connsiteY5" fmla="*/ 981986 h 1490869"/>
              <a:gd name="connsiteX0" fmla="*/ 0 w 4055165"/>
              <a:gd name="connsiteY0" fmla="*/ 981986 h 1490869"/>
              <a:gd name="connsiteX1" fmla="*/ 238538 w 4055165"/>
              <a:gd name="connsiteY1" fmla="*/ 306125 h 1490869"/>
              <a:gd name="connsiteX2" fmla="*/ 2027583 w 4055165"/>
              <a:gd name="connsiteY2" fmla="*/ 0 h 1490869"/>
              <a:gd name="connsiteX3" fmla="*/ 4055165 w 4055165"/>
              <a:gd name="connsiteY3" fmla="*/ 1152939 h 1490869"/>
              <a:gd name="connsiteX4" fmla="*/ 1872533 w 4055165"/>
              <a:gd name="connsiteY4" fmla="*/ 1490869 h 1490869"/>
              <a:gd name="connsiteX5" fmla="*/ 0 w 4055165"/>
              <a:gd name="connsiteY5" fmla="*/ 981986 h 1490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55165" h="1490869">
                <a:moveTo>
                  <a:pt x="0" y="981986"/>
                </a:moveTo>
                <a:lnTo>
                  <a:pt x="238538" y="306125"/>
                </a:lnTo>
                <a:lnTo>
                  <a:pt x="2027583" y="0"/>
                </a:lnTo>
                <a:lnTo>
                  <a:pt x="4055165" y="1152939"/>
                </a:lnTo>
                <a:lnTo>
                  <a:pt x="1872533" y="1490869"/>
                </a:lnTo>
                <a:lnTo>
                  <a:pt x="0" y="981986"/>
                </a:lnTo>
                <a:close/>
              </a:path>
            </a:pathLst>
          </a:custGeom>
          <a:solidFill>
            <a:schemeClr val="accent6">
              <a:lumMod val="75000"/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918FE587-E37E-45AE-BF86-37EEAAF5EC52}"/>
              </a:ext>
            </a:extLst>
          </p:cNvPr>
          <p:cNvGrpSpPr/>
          <p:nvPr/>
        </p:nvGrpSpPr>
        <p:grpSpPr>
          <a:xfrm>
            <a:off x="5432716" y="2587169"/>
            <a:ext cx="370335" cy="544385"/>
            <a:chOff x="5432716" y="2587169"/>
            <a:chExt cx="370335" cy="544385"/>
          </a:xfrm>
        </p:grpSpPr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840521EB-17FD-4F54-9B8D-0CABAACC2DBB}"/>
                </a:ext>
              </a:extLst>
            </p:cNvPr>
            <p:cNvSpPr/>
            <p:nvPr/>
          </p:nvSpPr>
          <p:spPr>
            <a:xfrm>
              <a:off x="5432876" y="2762221"/>
              <a:ext cx="370147" cy="369333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accent6">
                  <a:lumMod val="75000"/>
                </a:schemeClr>
              </a:solidFill>
            </a:ln>
            <a:scene3d>
              <a:camera prst="perspectiveRelaxed">
                <a:rot lat="17400000" lon="0" rev="0"/>
              </a:camera>
              <a:lightRig rig="threePt" dir="t"/>
            </a:scene3d>
            <a:sp3d extrusionH="158750">
              <a:bevelT w="0" h="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4C86F337-1EBB-46E3-B395-C56D8365B562}"/>
                </a:ext>
              </a:extLst>
            </p:cNvPr>
            <p:cNvSpPr/>
            <p:nvPr/>
          </p:nvSpPr>
          <p:spPr>
            <a:xfrm>
              <a:off x="5432716" y="2684247"/>
              <a:ext cx="370147" cy="369333"/>
            </a:xfrm>
            <a:prstGeom prst="ellipse">
              <a:avLst/>
            </a:prstGeom>
            <a:solidFill>
              <a:srgbClr val="0070C0"/>
            </a:solidFill>
            <a:ln>
              <a:solidFill>
                <a:srgbClr val="0070C0"/>
              </a:solidFill>
            </a:ln>
            <a:scene3d>
              <a:camera prst="perspectiveRelaxed">
                <a:rot lat="17400000" lon="0" rev="0"/>
              </a:camera>
              <a:lightRig rig="threePt" dir="t"/>
            </a:scene3d>
            <a:sp3d extrusionH="82550">
              <a:bevelT w="0" h="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13222BC7-C90E-4A00-9312-79F61404895E}"/>
                </a:ext>
              </a:extLst>
            </p:cNvPr>
            <p:cNvSpPr/>
            <p:nvPr/>
          </p:nvSpPr>
          <p:spPr>
            <a:xfrm>
              <a:off x="5432904" y="2587169"/>
              <a:ext cx="370147" cy="369333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accent6">
                  <a:lumMod val="75000"/>
                </a:schemeClr>
              </a:solidFill>
            </a:ln>
            <a:scene3d>
              <a:camera prst="perspectiveRelaxed">
                <a:rot lat="17400000" lon="0" rev="0"/>
              </a:camera>
              <a:lightRig rig="threePt" dir="t"/>
            </a:scene3d>
            <a:sp3d extrusionH="101600">
              <a:bevelT w="0" h="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6B2B3722-3AD6-49C7-A155-182D572C562E}"/>
              </a:ext>
            </a:extLst>
          </p:cNvPr>
          <p:cNvGrpSpPr/>
          <p:nvPr/>
        </p:nvGrpSpPr>
        <p:grpSpPr>
          <a:xfrm>
            <a:off x="5589493" y="2322812"/>
            <a:ext cx="1193579" cy="1038477"/>
            <a:chOff x="4609284" y="2701317"/>
            <a:chExt cx="1193579" cy="1038477"/>
          </a:xfrm>
        </p:grpSpPr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7259D4E0-600D-4A60-A7EA-D5DF5180D0B9}"/>
                </a:ext>
              </a:extLst>
            </p:cNvPr>
            <p:cNvGrpSpPr/>
            <p:nvPr/>
          </p:nvGrpSpPr>
          <p:grpSpPr>
            <a:xfrm>
              <a:off x="4779220" y="2701317"/>
              <a:ext cx="1023643" cy="1038477"/>
              <a:chOff x="3511943" y="1281239"/>
              <a:chExt cx="1023643" cy="1038477"/>
            </a:xfrm>
            <a:scene3d>
              <a:camera prst="isometricOffAxis1Top"/>
              <a:lightRig rig="threePt" dir="t"/>
            </a:scene3d>
          </p:grpSpPr>
          <p:cxnSp>
            <p:nvCxnSpPr>
              <p:cNvPr id="35" name="Gerade Verbindung mit Pfeil 34">
                <a:extLst>
                  <a:ext uri="{FF2B5EF4-FFF2-40B4-BE49-F238E27FC236}">
                    <a16:creationId xmlns:a16="http://schemas.microsoft.com/office/drawing/2014/main" id="{CEE01AFE-2E09-4FBE-B682-5BD9042F64B5}"/>
                  </a:ext>
                </a:extLst>
              </p:cNvPr>
              <p:cNvCxnSpPr/>
              <p:nvPr/>
            </p:nvCxnSpPr>
            <p:spPr>
              <a:xfrm flipV="1">
                <a:off x="3511943" y="1281239"/>
                <a:ext cx="1023643" cy="0"/>
              </a:xfrm>
              <a:prstGeom prst="straightConnector1">
                <a:avLst/>
              </a:prstGeom>
              <a:ln w="38100">
                <a:solidFill>
                  <a:schemeClr val="tx2">
                    <a:lumMod val="7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 Verbindung mit Pfeil 35">
                <a:extLst>
                  <a:ext uri="{FF2B5EF4-FFF2-40B4-BE49-F238E27FC236}">
                    <a16:creationId xmlns:a16="http://schemas.microsoft.com/office/drawing/2014/main" id="{09E700C8-68E5-4FD0-BE67-4F26C587B019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V="1">
                <a:off x="3017654" y="1807895"/>
                <a:ext cx="1023643" cy="0"/>
              </a:xfrm>
              <a:prstGeom prst="straightConnector1">
                <a:avLst/>
              </a:prstGeom>
              <a:ln w="38100">
                <a:solidFill>
                  <a:schemeClr val="tx2">
                    <a:lumMod val="7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08343EC3-4255-4C47-8003-A91ADD1748DA}"/>
                </a:ext>
              </a:extLst>
            </p:cNvPr>
            <p:cNvCxnSpPr/>
            <p:nvPr/>
          </p:nvCxnSpPr>
          <p:spPr>
            <a:xfrm>
              <a:off x="4609284" y="3140629"/>
              <a:ext cx="0" cy="457200"/>
            </a:xfrm>
            <a:prstGeom prst="straightConnector1">
              <a:avLst/>
            </a:prstGeom>
            <a:ln w="19050">
              <a:solidFill>
                <a:schemeClr val="tx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F5DD93C1-5823-459C-91BC-37470D5AEFEB}"/>
              </a:ext>
            </a:extLst>
          </p:cNvPr>
          <p:cNvSpPr/>
          <p:nvPr/>
        </p:nvSpPr>
        <p:spPr>
          <a:xfrm>
            <a:off x="508643" y="2647547"/>
            <a:ext cx="4639124" cy="748556"/>
          </a:xfrm>
          <a:custGeom>
            <a:avLst/>
            <a:gdLst>
              <a:gd name="connsiteX0" fmla="*/ 0 w 4564049"/>
              <a:gd name="connsiteY0" fmla="*/ 525397 h 525397"/>
              <a:gd name="connsiteX1" fmla="*/ 3244132 w 4564049"/>
              <a:gd name="connsiteY1" fmla="*/ 4586 h 525397"/>
              <a:gd name="connsiteX2" fmla="*/ 4564049 w 4564049"/>
              <a:gd name="connsiteY2" fmla="*/ 314687 h 525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64049" h="525397">
                <a:moveTo>
                  <a:pt x="0" y="525397"/>
                </a:moveTo>
                <a:cubicBezTo>
                  <a:pt x="1241728" y="282550"/>
                  <a:pt x="2483457" y="39704"/>
                  <a:pt x="3244132" y="4586"/>
                </a:cubicBezTo>
                <a:cubicBezTo>
                  <a:pt x="4004807" y="-30532"/>
                  <a:pt x="4284428" y="142077"/>
                  <a:pt x="4564049" y="314687"/>
                </a:cubicBezTo>
              </a:path>
            </a:pathLst>
          </a:custGeom>
          <a:noFill/>
          <a:ln>
            <a:solidFill>
              <a:schemeClr val="tx1">
                <a:lumMod val="95000"/>
                <a:lumOff val="5000"/>
              </a:schemeClr>
            </a:solidFill>
            <a:prstDash val="lg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D39BB8B3-534C-4261-9C04-836D116D1FD9}"/>
              </a:ext>
            </a:extLst>
          </p:cNvPr>
          <p:cNvGrpSpPr/>
          <p:nvPr/>
        </p:nvGrpSpPr>
        <p:grpSpPr>
          <a:xfrm>
            <a:off x="2484570" y="2225716"/>
            <a:ext cx="888825" cy="546781"/>
            <a:chOff x="3180145" y="691763"/>
            <a:chExt cx="888825" cy="546781"/>
          </a:xfrm>
        </p:grpSpPr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9D9E3B13-6EC8-4E15-BEC5-FBE622906D23}"/>
                </a:ext>
              </a:extLst>
            </p:cNvPr>
            <p:cNvSpPr txBox="1"/>
            <p:nvPr/>
          </p:nvSpPr>
          <p:spPr>
            <a:xfrm>
              <a:off x="3180145" y="691763"/>
              <a:ext cx="41870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err="1"/>
                <a:t>Img</a:t>
              </a:r>
              <a:endParaRPr lang="en-US" sz="1200" dirty="0"/>
            </a:p>
          </p:txBody>
        </p:sp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37B2CB1F-BCD5-40EC-8642-AAC8425ADD6A}"/>
                </a:ext>
              </a:extLst>
            </p:cNvPr>
            <p:cNvSpPr txBox="1"/>
            <p:nvPr/>
          </p:nvSpPr>
          <p:spPr>
            <a:xfrm>
              <a:off x="3420009" y="784096"/>
              <a:ext cx="29848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/>
                <a:t>T</a:t>
              </a:r>
            </a:p>
          </p:txBody>
        </p:sp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6D07B85C-FC7F-4A28-9FB7-B2D0786478A1}"/>
                </a:ext>
              </a:extLst>
            </p:cNvPr>
            <p:cNvSpPr txBox="1"/>
            <p:nvPr/>
          </p:nvSpPr>
          <p:spPr>
            <a:xfrm>
              <a:off x="3509137" y="961545"/>
              <a:ext cx="55983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Robot</a:t>
              </a: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CB4B6117-578B-44EA-A765-92BE13BF74FB}"/>
              </a:ext>
            </a:extLst>
          </p:cNvPr>
          <p:cNvGrpSpPr/>
          <p:nvPr/>
        </p:nvGrpSpPr>
        <p:grpSpPr>
          <a:xfrm>
            <a:off x="4889843" y="2197771"/>
            <a:ext cx="936851" cy="546781"/>
            <a:chOff x="3180145" y="691763"/>
            <a:chExt cx="936851" cy="546781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69C6B2A7-8EFE-4284-B23C-359B1F84BCEA}"/>
                </a:ext>
              </a:extLst>
            </p:cNvPr>
            <p:cNvSpPr txBox="1"/>
            <p:nvPr/>
          </p:nvSpPr>
          <p:spPr>
            <a:xfrm>
              <a:off x="3180145" y="691763"/>
              <a:ext cx="55983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Robot</a:t>
              </a: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28D9F690-2E1A-4A4F-B56C-76DB3A3014CE}"/>
                </a:ext>
              </a:extLst>
            </p:cNvPr>
            <p:cNvSpPr txBox="1"/>
            <p:nvPr/>
          </p:nvSpPr>
          <p:spPr>
            <a:xfrm>
              <a:off x="3420009" y="784096"/>
              <a:ext cx="29848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/>
                <a:t>T</a:t>
              </a: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F6F3FAEC-AEC3-4D6A-91CA-7CF27E0D0ED3}"/>
                </a:ext>
              </a:extLst>
            </p:cNvPr>
            <p:cNvSpPr txBox="1"/>
            <p:nvPr/>
          </p:nvSpPr>
          <p:spPr>
            <a:xfrm>
              <a:off x="3509137" y="961545"/>
              <a:ext cx="60785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Sensor</a:t>
              </a:r>
            </a:p>
          </p:txBody>
        </p:sp>
      </p:grpSp>
      <p:sp>
        <p:nvSpPr>
          <p:cNvPr id="47" name="Freihandform: Form 46">
            <a:extLst>
              <a:ext uri="{FF2B5EF4-FFF2-40B4-BE49-F238E27FC236}">
                <a16:creationId xmlns:a16="http://schemas.microsoft.com/office/drawing/2014/main" id="{AEF66BD5-4839-4B36-A831-4DD479D684A9}"/>
              </a:ext>
            </a:extLst>
          </p:cNvPr>
          <p:cNvSpPr/>
          <p:nvPr/>
        </p:nvSpPr>
        <p:spPr>
          <a:xfrm>
            <a:off x="5193911" y="2747176"/>
            <a:ext cx="348148" cy="345881"/>
          </a:xfrm>
          <a:custGeom>
            <a:avLst/>
            <a:gdLst>
              <a:gd name="connsiteX0" fmla="*/ 6242 w 348148"/>
              <a:gd name="connsiteY0" fmla="*/ 345881 h 345881"/>
              <a:gd name="connsiteX1" fmla="*/ 45999 w 348148"/>
              <a:gd name="connsiteY1" fmla="*/ 103367 h 345881"/>
              <a:gd name="connsiteX2" fmla="*/ 348148 w 348148"/>
              <a:gd name="connsiteY2" fmla="*/ 0 h 345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8148" h="345881">
                <a:moveTo>
                  <a:pt x="6242" y="345881"/>
                </a:moveTo>
                <a:cubicBezTo>
                  <a:pt x="-2372" y="253447"/>
                  <a:pt x="-10985" y="161014"/>
                  <a:pt x="45999" y="103367"/>
                </a:cubicBezTo>
                <a:cubicBezTo>
                  <a:pt x="102983" y="45720"/>
                  <a:pt x="225565" y="22860"/>
                  <a:pt x="348148" y="0"/>
                </a:cubicBezTo>
              </a:path>
            </a:pathLst>
          </a:custGeom>
          <a:noFill/>
          <a:ln>
            <a:solidFill>
              <a:schemeClr val="tx1">
                <a:lumMod val="95000"/>
                <a:lumOff val="5000"/>
              </a:schemeClr>
            </a:solidFill>
            <a:prstDash val="lg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8071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</Words>
  <Application>Microsoft Office PowerPoint</Application>
  <PresentationFormat>Breitbild</PresentationFormat>
  <Paragraphs>9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</vt:lpstr>
      <vt:lpstr>think-cell Foli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aldmann, Rene, Dr.-Ing. (D/CS-G34)</dc:creator>
  <cp:lastModifiedBy>Waldmann, Rene, Dr.-Ing. (D/CS-G34)</cp:lastModifiedBy>
  <cp:revision>9</cp:revision>
  <dcterms:created xsi:type="dcterms:W3CDTF">2021-08-20T11:18:27Z</dcterms:created>
  <dcterms:modified xsi:type="dcterms:W3CDTF">2021-08-20T12:23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1c9b508-7c6e-42bd-bedf-808292653d6c_Enabled">
    <vt:lpwstr>true</vt:lpwstr>
  </property>
  <property fmtid="{D5CDD505-2E9C-101B-9397-08002B2CF9AE}" pid="3" name="MSIP_Label_b1c9b508-7c6e-42bd-bedf-808292653d6c_SetDate">
    <vt:lpwstr>2021-08-20T12:23:20Z</vt:lpwstr>
  </property>
  <property fmtid="{D5CDD505-2E9C-101B-9397-08002B2CF9AE}" pid="4" name="MSIP_Label_b1c9b508-7c6e-42bd-bedf-808292653d6c_Method">
    <vt:lpwstr>Standard</vt:lpwstr>
  </property>
  <property fmtid="{D5CDD505-2E9C-101B-9397-08002B2CF9AE}" pid="5" name="MSIP_Label_b1c9b508-7c6e-42bd-bedf-808292653d6c_Name">
    <vt:lpwstr>b1c9b508-7c6e-42bd-bedf-808292653d6c</vt:lpwstr>
  </property>
  <property fmtid="{D5CDD505-2E9C-101B-9397-08002B2CF9AE}" pid="6" name="MSIP_Label_b1c9b508-7c6e-42bd-bedf-808292653d6c_SiteId">
    <vt:lpwstr>2882be50-2012-4d88-ac86-544124e120c8</vt:lpwstr>
  </property>
  <property fmtid="{D5CDD505-2E9C-101B-9397-08002B2CF9AE}" pid="7" name="MSIP_Label_b1c9b508-7c6e-42bd-bedf-808292653d6c_ActionId">
    <vt:lpwstr>a8eb1fd3-0443-4709-9c77-49c04d696138</vt:lpwstr>
  </property>
  <property fmtid="{D5CDD505-2E9C-101B-9397-08002B2CF9AE}" pid="8" name="MSIP_Label_b1c9b508-7c6e-42bd-bedf-808292653d6c_ContentBits">
    <vt:lpwstr>3</vt:lpwstr>
  </property>
</Properties>
</file>